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fan Röger" initials="SR" lastIdx="6" clrIdx="0">
    <p:extLst>
      <p:ext uri="{19B8F6BF-5375-455C-9EA6-DF929625EA0E}">
        <p15:presenceInfo xmlns:p15="http://schemas.microsoft.com/office/powerpoint/2012/main" userId="S::stefanroeger@vdma.org::914942a3-28ba-499b-937b-6e0c1907be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365" autoAdjust="0"/>
    <p:restoredTop sz="82021" autoAdjust="0"/>
  </p:normalViewPr>
  <p:slideViewPr>
    <p:cSldViewPr snapToGrid="0">
      <p:cViewPr varScale="1">
        <p:scale>
          <a:sx n="72" d="100"/>
          <a:sy n="72" d="100"/>
        </p:scale>
        <p:origin x="54" y="48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807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978" y="108"/>
      </p:cViewPr>
      <p:guideLst/>
    </p:cSldViewPr>
  </p:notesViewPr>
  <p:gridSpacing cx="72008" cy="72008"/>
</p:viewPr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cPsyhE1kCf.lG5iubSbg"/>
</p:tagL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89</Words>
  <Application>Microsoft Office PowerPoint</Application>
  <PresentationFormat>Breitbild</PresentationFormat>
  <Paragraphs>287</Paragraphs>
  <Slides>13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0" baseType="lpstr">
      <vt:lpstr>Arial</vt:lpstr>
      <vt:lpstr>Arial Unicode MS</vt:lpstr>
      <vt:lpstr>Calibri</vt:lpstr>
      <vt:lpstr>Wingdings</vt:lpstr>
      <vt:lpstr>Mit VDMA-Logo</vt:lpstr>
      <vt:lpstr>Office-Design</vt:lpstr>
      <vt:lpstr>think-cell Folie</vt:lpstr>
      <vt:lpstr> OPC UA for Industrie 4.0 in the mechanical engineering industry</vt:lpstr>
      <vt:lpstr>The VDMA – Facts and Figures</vt:lpstr>
      <vt:lpstr>Industrie 4.0  Internet of Things and Services in the smart production</vt:lpstr>
      <vt:lpstr>Need for machine interfaces</vt:lpstr>
      <vt:lpstr>VDMA focuses on  OPC UA Companion Specification</vt:lpstr>
      <vt:lpstr>OPC UA Companion Specification define the semantic used in the data communication</vt:lpstr>
      <vt:lpstr>Today's position on OPC UA in the VDMA organizational units</vt:lpstr>
      <vt:lpstr>Today's position on OPC UA in the VDMA organizational units</vt:lpstr>
      <vt:lpstr>If you think of OPC UA –  Get in touch with the VDMA!</vt:lpstr>
      <vt:lpstr>PowerPoint-Präsentation</vt:lpstr>
      <vt:lpstr>Guideline Industrie 4.0 Communication with OPC UA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C UA Finanzierungsmöglichkeiten</dc:title>
  <dc:creator>Andreas.Faath@vdma.org</dc:creator>
  <dc:description>Strategische Analyse des VDMA</dc:description>
  <cp:lastModifiedBy>Christian Mosch</cp:lastModifiedBy>
  <cp:revision>830</cp:revision>
  <cp:lastPrinted>2018-07-16T14:02:58Z</cp:lastPrinted>
  <dcterms:created xsi:type="dcterms:W3CDTF">2014-04-14T04:26:44Z</dcterms:created>
  <dcterms:modified xsi:type="dcterms:W3CDTF">2019-06-19T10:0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">
    <vt:lpwstr>Master_I40</vt:lpwstr>
  </property>
  <property fmtid="{D5CDD505-2E9C-101B-9397-08002B2CF9AE}" pid="3" name="SlideDescription">
    <vt:lpwstr>Strategische Analyse des VDMA</vt:lpwstr>
  </property>
  <property fmtid="{D5CDD505-2E9C-101B-9397-08002B2CF9AE}" pid="4" name="MSIP_Label_4c7b1c2a-f9e8-4f99-9b2c-ab826b707fdd_Enabled">
    <vt:lpwstr>True</vt:lpwstr>
  </property>
  <property fmtid="{D5CDD505-2E9C-101B-9397-08002B2CF9AE}" pid="5" name="MSIP_Label_4c7b1c2a-f9e8-4f99-9b2c-ab826b707fdd_SiteId">
    <vt:lpwstr>20d62e7b-4420-48d0-ba3f-70cadc237837</vt:lpwstr>
  </property>
  <property fmtid="{D5CDD505-2E9C-101B-9397-08002B2CF9AE}" pid="6" name="MSIP_Label_4c7b1c2a-f9e8-4f99-9b2c-ab826b707fdd_Owner">
    <vt:lpwstr>christianmosch@vdma.org</vt:lpwstr>
  </property>
  <property fmtid="{D5CDD505-2E9C-101B-9397-08002B2CF9AE}" pid="7" name="MSIP_Label_4c7b1c2a-f9e8-4f99-9b2c-ab826b707fdd_SetDate">
    <vt:lpwstr>2018-09-14T05:20:02.8353164Z</vt:lpwstr>
  </property>
  <property fmtid="{D5CDD505-2E9C-101B-9397-08002B2CF9AE}" pid="8" name="MSIP_Label_4c7b1c2a-f9e8-4f99-9b2c-ab826b707fdd_Name">
    <vt:lpwstr>Allgemein</vt:lpwstr>
  </property>
  <property fmtid="{D5CDD505-2E9C-101B-9397-08002B2CF9AE}" pid="9" name="MSIP_Label_4c7b1c2a-f9e8-4f99-9b2c-ab826b707fdd_Application">
    <vt:lpwstr>Microsoft Azure Information Protection</vt:lpwstr>
  </property>
  <property fmtid="{D5CDD505-2E9C-101B-9397-08002B2CF9AE}" pid="10" name="MSIP_Label_4c7b1c2a-f9e8-4f99-9b2c-ab826b707fdd_Extended_MSFT_Method">
    <vt:lpwstr>Automatic</vt:lpwstr>
  </property>
  <property fmtid="{D5CDD505-2E9C-101B-9397-08002B2CF9AE}" pid="11" name="Sensitivity">
    <vt:lpwstr>Allgemein</vt:lpwstr>
  </property>
</Properties>
</file>